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Mejore el rendimiento de la producción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Brazos de transferencia con guía lineal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Image 3">
            <a:extLst>
              <a:ext uri="{FF2B5EF4-FFF2-40B4-BE49-F238E27FC236}">
                <a16:creationId xmlns:a16="http://schemas.microsoft.com/office/drawing/2014/main" id="{79A0C2F8-8068-4C2F-A655-886E7A0F3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681" y="3829867"/>
            <a:ext cx="1814513" cy="191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 4">
            <a:extLst>
              <a:ext uri="{FF2B5EF4-FFF2-40B4-BE49-F238E27FC236}">
                <a16:creationId xmlns:a16="http://schemas.microsoft.com/office/drawing/2014/main" id="{64E2262A-CB59-47AD-BA4B-8386617CA4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219" y="3923530"/>
            <a:ext cx="1930400" cy="172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lèche : droite 19">
            <a:extLst>
              <a:ext uri="{FF2B5EF4-FFF2-40B4-BE49-F238E27FC236}">
                <a16:creationId xmlns:a16="http://schemas.microsoft.com/office/drawing/2014/main" id="{47E6EBF9-E955-4CB4-8183-D010FD66E7FB}"/>
              </a:ext>
            </a:extLst>
          </p:cNvPr>
          <p:cNvSpPr/>
          <p:nvPr/>
        </p:nvSpPr>
        <p:spPr>
          <a:xfrm>
            <a:off x="6636469" y="4633142"/>
            <a:ext cx="276225" cy="1508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4DF325E-271D-409A-B238-5EAABE5E5F1B}"/>
              </a:ext>
            </a:extLst>
          </p:cNvPr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e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eries 1 (SBO 4/4, SBO 4/6, SBO 6/6, SBO 6/10, SBO 10/10, SBO 16, SBO 24/26).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912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63526E3-B5C9-4A1C-8894-55E39762BE8B}"/>
              </a:ext>
            </a:extLst>
          </p:cNvPr>
          <p:cNvSpPr/>
          <p:nvPr/>
        </p:nvSpPr>
        <p:spPr>
          <a:xfrm>
            <a:off x="654769" y="2152465"/>
            <a:ext cx="3883894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b="1" dirty="0"/>
              <a:t>La última tecnología disponible en S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b="1" dirty="0"/>
              <a:t>Alta precisión de posicionamiento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se reducen las vibraciones y la flexión en el extremo de la pinza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resortes reposicionados para operar dentro de su rango de trabaj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sin riesgo de errores de ajust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b="1" dirty="0"/>
              <a:t>Fácil de mantener, mayor vida útil, más limpi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la lubricación de la guía se realizará cada 6 años a una tasa de 1200 b / h / m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reducción de costes y tiempo de mantenimient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entorno de la función de transferencia más limp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b="1" dirty="0"/>
              <a:t>Un brazo más ligero aumenta también la vida útil de las levas y los rodillo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carril de guía de alumini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soporte optimizad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peso total reducido en aproximadamente 1,2 kg</a:t>
            </a:r>
            <a:endParaRPr lang="fr-FR" sz="11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F4F8FD-E983-4488-8A74-E3D142DEB71E}"/>
              </a:ext>
            </a:extLst>
          </p:cNvPr>
          <p:cNvSpPr/>
          <p:nvPr/>
        </p:nvSpPr>
        <p:spPr>
          <a:xfrm>
            <a:off x="4751388" y="2129307"/>
            <a:ext cx="3872922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b="1" dirty="0"/>
              <a:t>El brazo de transferencia guiado por rodillo reemplaza el brazo guiado del buje </a:t>
            </a:r>
            <a:r>
              <a:rPr lang="es-ES" sz="1100" b="1" dirty="0" err="1"/>
              <a:t>autolubricante</a:t>
            </a:r>
            <a:r>
              <a:rPr lang="es-ES" sz="1100" b="1" dirty="0"/>
              <a:t> S1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incluye cabezal de cambio rápido S2, pinzas y plantilla de ajuste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ES" sz="1100" dirty="0"/>
              <a:t>disponible también con cabezal de cambio rápido S1.</a:t>
            </a:r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675</TotalTime>
  <Words>207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Mejore el rendimiento de la producció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4</cp:revision>
  <dcterms:created xsi:type="dcterms:W3CDTF">2018-02-10T17:04:39Z</dcterms:created>
  <dcterms:modified xsi:type="dcterms:W3CDTF">2020-12-23T15:4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